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8" r:id="rId2"/>
  </p:sldMasterIdLst>
  <p:notesMasterIdLst>
    <p:notesMasterId r:id="rId7"/>
  </p:notesMasterIdLst>
  <p:sldIdLst>
    <p:sldId id="256" r:id="rId3"/>
    <p:sldId id="257" r:id="rId4"/>
    <p:sldId id="262" r:id="rId5"/>
    <p:sldId id="263" r:id="rId6"/>
  </p:sldIdLst>
  <p:sldSz cx="12192000" cy="6858000"/>
  <p:notesSz cx="6858000" cy="9144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6374" autoAdjust="0"/>
  </p:normalViewPr>
  <p:slideViewPr>
    <p:cSldViewPr snapToGrid="0" snapToObjects="1">
      <p:cViewPr varScale="1">
        <p:scale>
          <a:sx n="110" d="100"/>
          <a:sy n="110" d="100"/>
        </p:scale>
        <p:origin x="59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2554C4-97E8-4F50-B02B-63D8C54A2B42}" type="doc">
      <dgm:prSet loTypeId="urn:microsoft.com/office/officeart/2005/8/layout/hProcess9" loCatId="process" qsTypeId="urn:microsoft.com/office/officeart/2005/8/quickstyle/simple1" qsCatId="simple" csTypeId="urn:microsoft.com/office/officeart/2005/8/colors/accent1_2" csCatId="accent1" phldr="1"/>
      <dgm:spPr/>
    </dgm:pt>
    <dgm:pt modelId="{C957ACB9-FD4F-43EF-8EB9-2ACE1BF581CF}">
      <dgm:prSet phldrT="[Text]"/>
      <dgm:spPr/>
      <dgm:t>
        <a:bodyPr/>
        <a:lstStyle/>
        <a:p>
          <a:r>
            <a:rPr lang="en-US" dirty="0"/>
            <a:t>Data clean up</a:t>
          </a:r>
        </a:p>
      </dgm:t>
    </dgm:pt>
    <dgm:pt modelId="{934FD8EF-F75B-4F98-ACAB-CD5D4063AB92}" type="parTrans" cxnId="{425DBEA7-90B2-4521-939C-C45839E08B4C}">
      <dgm:prSet/>
      <dgm:spPr/>
      <dgm:t>
        <a:bodyPr/>
        <a:lstStyle/>
        <a:p>
          <a:endParaRPr lang="en-US"/>
        </a:p>
      </dgm:t>
    </dgm:pt>
    <dgm:pt modelId="{0363D7DF-922F-479A-8003-9D6C41D46ED2}" type="sibTrans" cxnId="{425DBEA7-90B2-4521-939C-C45839E08B4C}">
      <dgm:prSet/>
      <dgm:spPr/>
      <dgm:t>
        <a:bodyPr/>
        <a:lstStyle/>
        <a:p>
          <a:endParaRPr lang="en-US"/>
        </a:p>
      </dgm:t>
    </dgm:pt>
    <dgm:pt modelId="{DD2BDFE8-E88C-4567-9073-ABD980958927}">
      <dgm:prSet phldrT="[Text]"/>
      <dgm:spPr/>
      <dgm:t>
        <a:bodyPr/>
        <a:lstStyle/>
        <a:p>
          <a:r>
            <a:rPr lang="en-US" dirty="0"/>
            <a:t>Patterns</a:t>
          </a:r>
        </a:p>
      </dgm:t>
    </dgm:pt>
    <dgm:pt modelId="{59AE0074-3028-4A2D-B170-67D8A75997B4}" type="parTrans" cxnId="{CA0D0D2F-85BF-445C-8D75-806144C739E1}">
      <dgm:prSet/>
      <dgm:spPr/>
      <dgm:t>
        <a:bodyPr/>
        <a:lstStyle/>
        <a:p>
          <a:endParaRPr lang="en-US"/>
        </a:p>
      </dgm:t>
    </dgm:pt>
    <dgm:pt modelId="{DB95E022-E652-4406-A05F-E7877F4C31B2}" type="sibTrans" cxnId="{CA0D0D2F-85BF-445C-8D75-806144C739E1}">
      <dgm:prSet/>
      <dgm:spPr/>
      <dgm:t>
        <a:bodyPr/>
        <a:lstStyle/>
        <a:p>
          <a:endParaRPr lang="en-US"/>
        </a:p>
      </dgm:t>
    </dgm:pt>
    <dgm:pt modelId="{90ACCDF6-C9FD-407E-B406-F95FAF328A76}">
      <dgm:prSet phldrT="[Text]"/>
      <dgm:spPr/>
      <dgm:t>
        <a:bodyPr/>
        <a:lstStyle/>
        <a:p>
          <a:r>
            <a:rPr lang="en-US" dirty="0"/>
            <a:t>Initial insights</a:t>
          </a:r>
        </a:p>
      </dgm:t>
    </dgm:pt>
    <dgm:pt modelId="{DDD18BB8-137C-4EEC-8871-90FF600E12AE}" type="parTrans" cxnId="{8340A176-09D2-4378-AB90-CE4D5C129CFB}">
      <dgm:prSet/>
      <dgm:spPr/>
      <dgm:t>
        <a:bodyPr/>
        <a:lstStyle/>
        <a:p>
          <a:endParaRPr lang="en-US"/>
        </a:p>
      </dgm:t>
    </dgm:pt>
    <dgm:pt modelId="{BBF0084E-1A12-458B-BA73-9AA40020F9A0}" type="sibTrans" cxnId="{8340A176-09D2-4378-AB90-CE4D5C129CFB}">
      <dgm:prSet/>
      <dgm:spPr/>
      <dgm:t>
        <a:bodyPr/>
        <a:lstStyle/>
        <a:p>
          <a:endParaRPr lang="en-US"/>
        </a:p>
      </dgm:t>
    </dgm:pt>
    <dgm:pt modelId="{EB2C918D-CCA6-4047-AF4F-FD7D3112E724}">
      <dgm:prSet/>
      <dgm:spPr/>
      <dgm:t>
        <a:bodyPr/>
        <a:lstStyle/>
        <a:p>
          <a:r>
            <a:rPr lang="en-US" dirty="0"/>
            <a:t>Relationships</a:t>
          </a:r>
        </a:p>
      </dgm:t>
    </dgm:pt>
    <dgm:pt modelId="{FE7EDCE6-42F3-4670-8E91-04F29AADE8FA}" type="parTrans" cxnId="{56A605AB-166A-444D-A64D-383581D61809}">
      <dgm:prSet/>
      <dgm:spPr/>
      <dgm:t>
        <a:bodyPr/>
        <a:lstStyle/>
        <a:p>
          <a:endParaRPr lang="en-US"/>
        </a:p>
      </dgm:t>
    </dgm:pt>
    <dgm:pt modelId="{5B0BE0A4-79FF-4489-AB1C-85E9718B04A3}" type="sibTrans" cxnId="{56A605AB-166A-444D-A64D-383581D61809}">
      <dgm:prSet/>
      <dgm:spPr/>
      <dgm:t>
        <a:bodyPr/>
        <a:lstStyle/>
        <a:p>
          <a:endParaRPr lang="en-US"/>
        </a:p>
      </dgm:t>
    </dgm:pt>
    <dgm:pt modelId="{2B2CAA49-9E20-4B44-8447-4E3102669FE0}">
      <dgm:prSet/>
      <dgm:spPr/>
      <dgm:t>
        <a:bodyPr/>
        <a:lstStyle/>
        <a:p>
          <a:r>
            <a:rPr lang="en-US" dirty="0"/>
            <a:t>Data split</a:t>
          </a:r>
        </a:p>
      </dgm:t>
    </dgm:pt>
    <dgm:pt modelId="{C73C707F-4BB0-413F-A61C-EF639F3FCFD4}" type="parTrans" cxnId="{09F224F6-F37E-42A3-9E03-2DF3ADE91AB1}">
      <dgm:prSet/>
      <dgm:spPr/>
      <dgm:t>
        <a:bodyPr/>
        <a:lstStyle/>
        <a:p>
          <a:endParaRPr lang="en-US"/>
        </a:p>
      </dgm:t>
    </dgm:pt>
    <dgm:pt modelId="{3723D477-AADA-4004-84EF-FF7E73F34ED9}" type="sibTrans" cxnId="{09F224F6-F37E-42A3-9E03-2DF3ADE91AB1}">
      <dgm:prSet/>
      <dgm:spPr/>
      <dgm:t>
        <a:bodyPr/>
        <a:lstStyle/>
        <a:p>
          <a:endParaRPr lang="en-US"/>
        </a:p>
      </dgm:t>
    </dgm:pt>
    <dgm:pt modelId="{7219ACA9-40DB-45FF-8B09-C2ED7F270B0B}">
      <dgm:prSet/>
      <dgm:spPr/>
      <dgm:t>
        <a:bodyPr/>
        <a:lstStyle/>
        <a:p>
          <a:r>
            <a:rPr lang="en-US" dirty="0"/>
            <a:t>Cross Validation</a:t>
          </a:r>
        </a:p>
      </dgm:t>
    </dgm:pt>
    <dgm:pt modelId="{1B7C2F99-BC41-42B7-A466-7D9C8E367047}" type="parTrans" cxnId="{8BFD980B-3469-4A7C-8FD4-5844E49C216A}">
      <dgm:prSet/>
      <dgm:spPr/>
      <dgm:t>
        <a:bodyPr/>
        <a:lstStyle/>
        <a:p>
          <a:endParaRPr lang="en-US"/>
        </a:p>
      </dgm:t>
    </dgm:pt>
    <dgm:pt modelId="{39579948-239B-40F2-8925-CCEABEC92F06}" type="sibTrans" cxnId="{8BFD980B-3469-4A7C-8FD4-5844E49C216A}">
      <dgm:prSet/>
      <dgm:spPr/>
      <dgm:t>
        <a:bodyPr/>
        <a:lstStyle/>
        <a:p>
          <a:endParaRPr lang="en-US"/>
        </a:p>
      </dgm:t>
    </dgm:pt>
    <dgm:pt modelId="{C7F54779-206F-459C-AB8A-76974CD90A05}">
      <dgm:prSet/>
      <dgm:spPr/>
      <dgm:t>
        <a:bodyPr/>
        <a:lstStyle/>
        <a:p>
          <a:r>
            <a:rPr lang="en-US" dirty="0"/>
            <a:t>Conclusions</a:t>
          </a:r>
        </a:p>
      </dgm:t>
    </dgm:pt>
    <dgm:pt modelId="{B806DF87-B041-4437-AA48-1AA1BE627F59}" type="parTrans" cxnId="{121A5F07-FE48-4D08-8C5D-4942790BC4D5}">
      <dgm:prSet/>
      <dgm:spPr/>
      <dgm:t>
        <a:bodyPr/>
        <a:lstStyle/>
        <a:p>
          <a:endParaRPr lang="en-US"/>
        </a:p>
      </dgm:t>
    </dgm:pt>
    <dgm:pt modelId="{4DFD1C70-76D8-42C1-901E-909D52B7A1C2}" type="sibTrans" cxnId="{121A5F07-FE48-4D08-8C5D-4942790BC4D5}">
      <dgm:prSet/>
      <dgm:spPr/>
      <dgm:t>
        <a:bodyPr/>
        <a:lstStyle/>
        <a:p>
          <a:endParaRPr lang="en-US"/>
        </a:p>
      </dgm:t>
    </dgm:pt>
    <dgm:pt modelId="{D51F94BB-CFB9-406E-BBBA-5EEB9B31BAD1}" type="pres">
      <dgm:prSet presAssocID="{B42554C4-97E8-4F50-B02B-63D8C54A2B42}" presName="CompostProcess" presStyleCnt="0">
        <dgm:presLayoutVars>
          <dgm:dir/>
          <dgm:resizeHandles val="exact"/>
        </dgm:presLayoutVars>
      </dgm:prSet>
      <dgm:spPr/>
    </dgm:pt>
    <dgm:pt modelId="{7FD93164-614F-46F4-BBC2-CC2EFD3128A4}" type="pres">
      <dgm:prSet presAssocID="{B42554C4-97E8-4F50-B02B-63D8C54A2B42}" presName="arrow" presStyleLbl="bgShp" presStyleIdx="0" presStyleCnt="1"/>
      <dgm:spPr/>
    </dgm:pt>
    <dgm:pt modelId="{6ECC1D68-3828-452F-8C08-6D3887BC5CBE}" type="pres">
      <dgm:prSet presAssocID="{B42554C4-97E8-4F50-B02B-63D8C54A2B42}" presName="linearProcess" presStyleCnt="0"/>
      <dgm:spPr/>
    </dgm:pt>
    <dgm:pt modelId="{D19FDACB-D609-4901-9F85-A5113D1504F4}" type="pres">
      <dgm:prSet presAssocID="{C957ACB9-FD4F-43EF-8EB9-2ACE1BF581CF}" presName="textNode" presStyleLbl="node1" presStyleIdx="0" presStyleCnt="7">
        <dgm:presLayoutVars>
          <dgm:bulletEnabled val="1"/>
        </dgm:presLayoutVars>
      </dgm:prSet>
      <dgm:spPr/>
    </dgm:pt>
    <dgm:pt modelId="{ECA4BABE-8D1D-4F90-AA3C-95244288EF2D}" type="pres">
      <dgm:prSet presAssocID="{0363D7DF-922F-479A-8003-9D6C41D46ED2}" presName="sibTrans" presStyleCnt="0"/>
      <dgm:spPr/>
    </dgm:pt>
    <dgm:pt modelId="{68AF2197-1063-4AB4-9402-377F4534AC3F}" type="pres">
      <dgm:prSet presAssocID="{DD2BDFE8-E88C-4567-9073-ABD980958927}" presName="textNode" presStyleLbl="node1" presStyleIdx="1" presStyleCnt="7">
        <dgm:presLayoutVars>
          <dgm:bulletEnabled val="1"/>
        </dgm:presLayoutVars>
      </dgm:prSet>
      <dgm:spPr/>
    </dgm:pt>
    <dgm:pt modelId="{2F833C37-7338-4377-8806-71589862107B}" type="pres">
      <dgm:prSet presAssocID="{DB95E022-E652-4406-A05F-E7877F4C31B2}" presName="sibTrans" presStyleCnt="0"/>
      <dgm:spPr/>
    </dgm:pt>
    <dgm:pt modelId="{8CC3D1DE-EA8C-4A1F-BCEC-3DDEE59A0794}" type="pres">
      <dgm:prSet presAssocID="{90ACCDF6-C9FD-407E-B406-F95FAF328A76}" presName="textNode" presStyleLbl="node1" presStyleIdx="2" presStyleCnt="7">
        <dgm:presLayoutVars>
          <dgm:bulletEnabled val="1"/>
        </dgm:presLayoutVars>
      </dgm:prSet>
      <dgm:spPr/>
    </dgm:pt>
    <dgm:pt modelId="{EADB1123-86AB-4430-BEC5-939C84A84E40}" type="pres">
      <dgm:prSet presAssocID="{BBF0084E-1A12-458B-BA73-9AA40020F9A0}" presName="sibTrans" presStyleCnt="0"/>
      <dgm:spPr/>
    </dgm:pt>
    <dgm:pt modelId="{5B00286E-DAAA-418A-A8FE-4AE883BDF476}" type="pres">
      <dgm:prSet presAssocID="{EB2C918D-CCA6-4047-AF4F-FD7D3112E724}" presName="textNode" presStyleLbl="node1" presStyleIdx="3" presStyleCnt="7">
        <dgm:presLayoutVars>
          <dgm:bulletEnabled val="1"/>
        </dgm:presLayoutVars>
      </dgm:prSet>
      <dgm:spPr/>
    </dgm:pt>
    <dgm:pt modelId="{C21D35D6-6BD0-4EEA-A3D2-D1967B508444}" type="pres">
      <dgm:prSet presAssocID="{5B0BE0A4-79FF-4489-AB1C-85E9718B04A3}" presName="sibTrans" presStyleCnt="0"/>
      <dgm:spPr/>
    </dgm:pt>
    <dgm:pt modelId="{160E8277-C03A-43D6-AACA-E8F9CA4E4152}" type="pres">
      <dgm:prSet presAssocID="{2B2CAA49-9E20-4B44-8447-4E3102669FE0}" presName="textNode" presStyleLbl="node1" presStyleIdx="4" presStyleCnt="7">
        <dgm:presLayoutVars>
          <dgm:bulletEnabled val="1"/>
        </dgm:presLayoutVars>
      </dgm:prSet>
      <dgm:spPr/>
    </dgm:pt>
    <dgm:pt modelId="{1AA46240-E691-44D5-A8B1-63D4AF6D5DEA}" type="pres">
      <dgm:prSet presAssocID="{3723D477-AADA-4004-84EF-FF7E73F34ED9}" presName="sibTrans" presStyleCnt="0"/>
      <dgm:spPr/>
    </dgm:pt>
    <dgm:pt modelId="{7B226391-DCA1-4644-B40E-0A7045BFF435}" type="pres">
      <dgm:prSet presAssocID="{7219ACA9-40DB-45FF-8B09-C2ED7F270B0B}" presName="textNode" presStyleLbl="node1" presStyleIdx="5" presStyleCnt="7">
        <dgm:presLayoutVars>
          <dgm:bulletEnabled val="1"/>
        </dgm:presLayoutVars>
      </dgm:prSet>
      <dgm:spPr/>
    </dgm:pt>
    <dgm:pt modelId="{ED328F61-B6EA-4D54-B470-6B45B5DCC8EE}" type="pres">
      <dgm:prSet presAssocID="{39579948-239B-40F2-8925-CCEABEC92F06}" presName="sibTrans" presStyleCnt="0"/>
      <dgm:spPr/>
    </dgm:pt>
    <dgm:pt modelId="{8EF3D113-F3C6-438A-B7AF-A17FDED24EC6}" type="pres">
      <dgm:prSet presAssocID="{C7F54779-206F-459C-AB8A-76974CD90A05}" presName="textNode" presStyleLbl="node1" presStyleIdx="6" presStyleCnt="7">
        <dgm:presLayoutVars>
          <dgm:bulletEnabled val="1"/>
        </dgm:presLayoutVars>
      </dgm:prSet>
      <dgm:spPr/>
    </dgm:pt>
  </dgm:ptLst>
  <dgm:cxnLst>
    <dgm:cxn modelId="{121A5F07-FE48-4D08-8C5D-4942790BC4D5}" srcId="{B42554C4-97E8-4F50-B02B-63D8C54A2B42}" destId="{C7F54779-206F-459C-AB8A-76974CD90A05}" srcOrd="6" destOrd="0" parTransId="{B806DF87-B041-4437-AA48-1AA1BE627F59}" sibTransId="{4DFD1C70-76D8-42C1-901E-909D52B7A1C2}"/>
    <dgm:cxn modelId="{D065000B-E37F-4DCD-94A9-873BE09F8A98}" type="presOf" srcId="{7219ACA9-40DB-45FF-8B09-C2ED7F270B0B}" destId="{7B226391-DCA1-4644-B40E-0A7045BFF435}" srcOrd="0" destOrd="0" presId="urn:microsoft.com/office/officeart/2005/8/layout/hProcess9"/>
    <dgm:cxn modelId="{8BFD980B-3469-4A7C-8FD4-5844E49C216A}" srcId="{B42554C4-97E8-4F50-B02B-63D8C54A2B42}" destId="{7219ACA9-40DB-45FF-8B09-C2ED7F270B0B}" srcOrd="5" destOrd="0" parTransId="{1B7C2F99-BC41-42B7-A466-7D9C8E367047}" sibTransId="{39579948-239B-40F2-8925-CCEABEC92F06}"/>
    <dgm:cxn modelId="{E4D6F922-8C5D-4B4B-92FD-36C362E804D4}" type="presOf" srcId="{B42554C4-97E8-4F50-B02B-63D8C54A2B42}" destId="{D51F94BB-CFB9-406E-BBBA-5EEB9B31BAD1}" srcOrd="0" destOrd="0" presId="urn:microsoft.com/office/officeart/2005/8/layout/hProcess9"/>
    <dgm:cxn modelId="{CA0D0D2F-85BF-445C-8D75-806144C739E1}" srcId="{B42554C4-97E8-4F50-B02B-63D8C54A2B42}" destId="{DD2BDFE8-E88C-4567-9073-ABD980958927}" srcOrd="1" destOrd="0" parTransId="{59AE0074-3028-4A2D-B170-67D8A75997B4}" sibTransId="{DB95E022-E652-4406-A05F-E7877F4C31B2}"/>
    <dgm:cxn modelId="{5C450C31-AE3B-4485-92A2-8A85CC055B3C}" type="presOf" srcId="{2B2CAA49-9E20-4B44-8447-4E3102669FE0}" destId="{160E8277-C03A-43D6-AACA-E8F9CA4E4152}" srcOrd="0" destOrd="0" presId="urn:microsoft.com/office/officeart/2005/8/layout/hProcess9"/>
    <dgm:cxn modelId="{A48CBD64-B026-4D00-B2FD-B0977E0505E5}" type="presOf" srcId="{C957ACB9-FD4F-43EF-8EB9-2ACE1BF581CF}" destId="{D19FDACB-D609-4901-9F85-A5113D1504F4}" srcOrd="0" destOrd="0" presId="urn:microsoft.com/office/officeart/2005/8/layout/hProcess9"/>
    <dgm:cxn modelId="{F7642851-0B5B-412C-A158-B1184BEA1D22}" type="presOf" srcId="{90ACCDF6-C9FD-407E-B406-F95FAF328A76}" destId="{8CC3D1DE-EA8C-4A1F-BCEC-3DDEE59A0794}" srcOrd="0" destOrd="0" presId="urn:microsoft.com/office/officeart/2005/8/layout/hProcess9"/>
    <dgm:cxn modelId="{8340A176-09D2-4378-AB90-CE4D5C129CFB}" srcId="{B42554C4-97E8-4F50-B02B-63D8C54A2B42}" destId="{90ACCDF6-C9FD-407E-B406-F95FAF328A76}" srcOrd="2" destOrd="0" parTransId="{DDD18BB8-137C-4EEC-8871-90FF600E12AE}" sibTransId="{BBF0084E-1A12-458B-BA73-9AA40020F9A0}"/>
    <dgm:cxn modelId="{BA0E55A4-9B50-49DB-9E3E-D6F714FAAC39}" type="presOf" srcId="{EB2C918D-CCA6-4047-AF4F-FD7D3112E724}" destId="{5B00286E-DAAA-418A-A8FE-4AE883BDF476}" srcOrd="0" destOrd="0" presId="urn:microsoft.com/office/officeart/2005/8/layout/hProcess9"/>
    <dgm:cxn modelId="{425DBEA7-90B2-4521-939C-C45839E08B4C}" srcId="{B42554C4-97E8-4F50-B02B-63D8C54A2B42}" destId="{C957ACB9-FD4F-43EF-8EB9-2ACE1BF581CF}" srcOrd="0" destOrd="0" parTransId="{934FD8EF-F75B-4F98-ACAB-CD5D4063AB92}" sibTransId="{0363D7DF-922F-479A-8003-9D6C41D46ED2}"/>
    <dgm:cxn modelId="{56A605AB-166A-444D-A64D-383581D61809}" srcId="{B42554C4-97E8-4F50-B02B-63D8C54A2B42}" destId="{EB2C918D-CCA6-4047-AF4F-FD7D3112E724}" srcOrd="3" destOrd="0" parTransId="{FE7EDCE6-42F3-4670-8E91-04F29AADE8FA}" sibTransId="{5B0BE0A4-79FF-4489-AB1C-85E9718B04A3}"/>
    <dgm:cxn modelId="{FFD166D1-43AD-42A0-91A4-F58091BC64B2}" type="presOf" srcId="{C7F54779-206F-459C-AB8A-76974CD90A05}" destId="{8EF3D113-F3C6-438A-B7AF-A17FDED24EC6}" srcOrd="0" destOrd="0" presId="urn:microsoft.com/office/officeart/2005/8/layout/hProcess9"/>
    <dgm:cxn modelId="{E30A1FD8-E298-4A06-927A-832EDC124463}" type="presOf" srcId="{DD2BDFE8-E88C-4567-9073-ABD980958927}" destId="{68AF2197-1063-4AB4-9402-377F4534AC3F}" srcOrd="0" destOrd="0" presId="urn:microsoft.com/office/officeart/2005/8/layout/hProcess9"/>
    <dgm:cxn modelId="{09F224F6-F37E-42A3-9E03-2DF3ADE91AB1}" srcId="{B42554C4-97E8-4F50-B02B-63D8C54A2B42}" destId="{2B2CAA49-9E20-4B44-8447-4E3102669FE0}" srcOrd="4" destOrd="0" parTransId="{C73C707F-4BB0-413F-A61C-EF639F3FCFD4}" sibTransId="{3723D477-AADA-4004-84EF-FF7E73F34ED9}"/>
    <dgm:cxn modelId="{5409BF28-430C-423D-9C46-95F7B55CDC4A}" type="presParOf" srcId="{D51F94BB-CFB9-406E-BBBA-5EEB9B31BAD1}" destId="{7FD93164-614F-46F4-BBC2-CC2EFD3128A4}" srcOrd="0" destOrd="0" presId="urn:microsoft.com/office/officeart/2005/8/layout/hProcess9"/>
    <dgm:cxn modelId="{67C2FA59-49C1-4406-93C0-C6C7690FF30E}" type="presParOf" srcId="{D51F94BB-CFB9-406E-BBBA-5EEB9B31BAD1}" destId="{6ECC1D68-3828-452F-8C08-6D3887BC5CBE}" srcOrd="1" destOrd="0" presId="urn:microsoft.com/office/officeart/2005/8/layout/hProcess9"/>
    <dgm:cxn modelId="{05136EB8-6045-47F4-B024-3EC525B3A56B}" type="presParOf" srcId="{6ECC1D68-3828-452F-8C08-6D3887BC5CBE}" destId="{D19FDACB-D609-4901-9F85-A5113D1504F4}" srcOrd="0" destOrd="0" presId="urn:microsoft.com/office/officeart/2005/8/layout/hProcess9"/>
    <dgm:cxn modelId="{FAB4BA18-BFD1-41C5-8700-87DA3704B087}" type="presParOf" srcId="{6ECC1D68-3828-452F-8C08-6D3887BC5CBE}" destId="{ECA4BABE-8D1D-4F90-AA3C-95244288EF2D}" srcOrd="1" destOrd="0" presId="urn:microsoft.com/office/officeart/2005/8/layout/hProcess9"/>
    <dgm:cxn modelId="{D6727587-E1C8-4E57-B5B3-C2C5C8F4064A}" type="presParOf" srcId="{6ECC1D68-3828-452F-8C08-6D3887BC5CBE}" destId="{68AF2197-1063-4AB4-9402-377F4534AC3F}" srcOrd="2" destOrd="0" presId="urn:microsoft.com/office/officeart/2005/8/layout/hProcess9"/>
    <dgm:cxn modelId="{E0DA9BD6-E184-49C2-8ED5-90642644B96E}" type="presParOf" srcId="{6ECC1D68-3828-452F-8C08-6D3887BC5CBE}" destId="{2F833C37-7338-4377-8806-71589862107B}" srcOrd="3" destOrd="0" presId="urn:microsoft.com/office/officeart/2005/8/layout/hProcess9"/>
    <dgm:cxn modelId="{480A1514-35D3-4139-A759-193444381E4D}" type="presParOf" srcId="{6ECC1D68-3828-452F-8C08-6D3887BC5CBE}" destId="{8CC3D1DE-EA8C-4A1F-BCEC-3DDEE59A0794}" srcOrd="4" destOrd="0" presId="urn:microsoft.com/office/officeart/2005/8/layout/hProcess9"/>
    <dgm:cxn modelId="{7B3EABD3-5BD8-46F8-8095-37DA00C12990}" type="presParOf" srcId="{6ECC1D68-3828-452F-8C08-6D3887BC5CBE}" destId="{EADB1123-86AB-4430-BEC5-939C84A84E40}" srcOrd="5" destOrd="0" presId="urn:microsoft.com/office/officeart/2005/8/layout/hProcess9"/>
    <dgm:cxn modelId="{0C75B33F-F4C2-41C3-8A88-EDCCBB3521BD}" type="presParOf" srcId="{6ECC1D68-3828-452F-8C08-6D3887BC5CBE}" destId="{5B00286E-DAAA-418A-A8FE-4AE883BDF476}" srcOrd="6" destOrd="0" presId="urn:microsoft.com/office/officeart/2005/8/layout/hProcess9"/>
    <dgm:cxn modelId="{8587910C-3D05-4966-9595-B0A73C8AB2A7}" type="presParOf" srcId="{6ECC1D68-3828-452F-8C08-6D3887BC5CBE}" destId="{C21D35D6-6BD0-4EEA-A3D2-D1967B508444}" srcOrd="7" destOrd="0" presId="urn:microsoft.com/office/officeart/2005/8/layout/hProcess9"/>
    <dgm:cxn modelId="{F59722EF-1FFA-42BE-9231-2F60AAB8687B}" type="presParOf" srcId="{6ECC1D68-3828-452F-8C08-6D3887BC5CBE}" destId="{160E8277-C03A-43D6-AACA-E8F9CA4E4152}" srcOrd="8" destOrd="0" presId="urn:microsoft.com/office/officeart/2005/8/layout/hProcess9"/>
    <dgm:cxn modelId="{A569A0F8-553B-4C4E-8D12-6319CD8A0F5C}" type="presParOf" srcId="{6ECC1D68-3828-452F-8C08-6D3887BC5CBE}" destId="{1AA46240-E691-44D5-A8B1-63D4AF6D5DEA}" srcOrd="9" destOrd="0" presId="urn:microsoft.com/office/officeart/2005/8/layout/hProcess9"/>
    <dgm:cxn modelId="{D3EFCE0B-4E68-43C8-B01E-44FDB3C92554}" type="presParOf" srcId="{6ECC1D68-3828-452F-8C08-6D3887BC5CBE}" destId="{7B226391-DCA1-4644-B40E-0A7045BFF435}" srcOrd="10" destOrd="0" presId="urn:microsoft.com/office/officeart/2005/8/layout/hProcess9"/>
    <dgm:cxn modelId="{16395FCC-BA7C-4F05-B6B8-914DB574670F}" type="presParOf" srcId="{6ECC1D68-3828-452F-8C08-6D3887BC5CBE}" destId="{ED328F61-B6EA-4D54-B470-6B45B5DCC8EE}" srcOrd="11" destOrd="0" presId="urn:microsoft.com/office/officeart/2005/8/layout/hProcess9"/>
    <dgm:cxn modelId="{3C894D7F-AE1E-4669-B60E-E82F764BB3F4}" type="presParOf" srcId="{6ECC1D68-3828-452F-8C08-6D3887BC5CBE}" destId="{8EF3D113-F3C6-438A-B7AF-A17FDED24EC6}" srcOrd="12" destOrd="0" presId="urn:microsoft.com/office/officeart/2005/8/layout/hProcess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D93164-614F-46F4-BBC2-CC2EFD3128A4}">
      <dsp:nvSpPr>
        <dsp:cNvPr id="0" name=""/>
        <dsp:cNvSpPr/>
      </dsp:nvSpPr>
      <dsp:spPr>
        <a:xfrm>
          <a:off x="706192" y="0"/>
          <a:ext cx="8003515" cy="214884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9FDACB-D609-4901-9F85-A5113D1504F4}">
      <dsp:nvSpPr>
        <dsp:cNvPr id="0" name=""/>
        <dsp:cNvSpPr/>
      </dsp:nvSpPr>
      <dsp:spPr>
        <a:xfrm>
          <a:off x="2392" y="644651"/>
          <a:ext cx="1255678" cy="85953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ata clean up</a:t>
          </a:r>
        </a:p>
      </dsp:txBody>
      <dsp:txXfrm>
        <a:off x="44351" y="686610"/>
        <a:ext cx="1171760" cy="775618"/>
      </dsp:txXfrm>
    </dsp:sp>
    <dsp:sp modelId="{68AF2197-1063-4AB4-9402-377F4534AC3F}">
      <dsp:nvSpPr>
        <dsp:cNvPr id="0" name=""/>
        <dsp:cNvSpPr/>
      </dsp:nvSpPr>
      <dsp:spPr>
        <a:xfrm>
          <a:off x="1361631" y="644651"/>
          <a:ext cx="1255678" cy="85953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atterns</a:t>
          </a:r>
        </a:p>
      </dsp:txBody>
      <dsp:txXfrm>
        <a:off x="1403590" y="686610"/>
        <a:ext cx="1171760" cy="775618"/>
      </dsp:txXfrm>
    </dsp:sp>
    <dsp:sp modelId="{8CC3D1DE-EA8C-4A1F-BCEC-3DDEE59A0794}">
      <dsp:nvSpPr>
        <dsp:cNvPr id="0" name=""/>
        <dsp:cNvSpPr/>
      </dsp:nvSpPr>
      <dsp:spPr>
        <a:xfrm>
          <a:off x="2720871" y="644651"/>
          <a:ext cx="1255678" cy="85953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Initial insights</a:t>
          </a:r>
        </a:p>
      </dsp:txBody>
      <dsp:txXfrm>
        <a:off x="2762830" y="686610"/>
        <a:ext cx="1171760" cy="775618"/>
      </dsp:txXfrm>
    </dsp:sp>
    <dsp:sp modelId="{5B00286E-DAAA-418A-A8FE-4AE883BDF476}">
      <dsp:nvSpPr>
        <dsp:cNvPr id="0" name=""/>
        <dsp:cNvSpPr/>
      </dsp:nvSpPr>
      <dsp:spPr>
        <a:xfrm>
          <a:off x="4080110" y="644651"/>
          <a:ext cx="1255678" cy="85953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lationships</a:t>
          </a:r>
        </a:p>
      </dsp:txBody>
      <dsp:txXfrm>
        <a:off x="4122069" y="686610"/>
        <a:ext cx="1171760" cy="775618"/>
      </dsp:txXfrm>
    </dsp:sp>
    <dsp:sp modelId="{160E8277-C03A-43D6-AACA-E8F9CA4E4152}">
      <dsp:nvSpPr>
        <dsp:cNvPr id="0" name=""/>
        <dsp:cNvSpPr/>
      </dsp:nvSpPr>
      <dsp:spPr>
        <a:xfrm>
          <a:off x="5439350" y="644651"/>
          <a:ext cx="1255678" cy="85953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ata split</a:t>
          </a:r>
        </a:p>
      </dsp:txBody>
      <dsp:txXfrm>
        <a:off x="5481309" y="686610"/>
        <a:ext cx="1171760" cy="775618"/>
      </dsp:txXfrm>
    </dsp:sp>
    <dsp:sp modelId="{7B226391-DCA1-4644-B40E-0A7045BFF435}">
      <dsp:nvSpPr>
        <dsp:cNvPr id="0" name=""/>
        <dsp:cNvSpPr/>
      </dsp:nvSpPr>
      <dsp:spPr>
        <a:xfrm>
          <a:off x="6798589" y="644651"/>
          <a:ext cx="1255678" cy="85953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ross Validation</a:t>
          </a:r>
        </a:p>
      </dsp:txBody>
      <dsp:txXfrm>
        <a:off x="6840548" y="686610"/>
        <a:ext cx="1171760" cy="775618"/>
      </dsp:txXfrm>
    </dsp:sp>
    <dsp:sp modelId="{8EF3D113-F3C6-438A-B7AF-A17FDED24EC6}">
      <dsp:nvSpPr>
        <dsp:cNvPr id="0" name=""/>
        <dsp:cNvSpPr/>
      </dsp:nvSpPr>
      <dsp:spPr>
        <a:xfrm>
          <a:off x="8157829" y="644651"/>
          <a:ext cx="1255678" cy="859536"/>
        </a:xfrm>
        <a:prstGeom prst="roundRect">
          <a:avLst/>
        </a:prstGeom>
        <a:solidFill>
          <a:schemeClr val="accent1">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onclusions</a:t>
          </a:r>
        </a:p>
      </dsp:txBody>
      <dsp:txXfrm>
        <a:off x="8199788" y="686610"/>
        <a:ext cx="1171760" cy="77561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DE32DE-F1BD-46A5-ACC5-500714788E68}" type="datetimeFigureOut">
              <a:rPr lang="en-US" smtClean="0"/>
              <a:t>9/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BBBC3D-BEA4-478A-B63F-ADBD0AF3C6A0}" type="slidenum">
              <a:rPr lang="en-US" smtClean="0"/>
              <a:t>‹#›</a:t>
            </a:fld>
            <a:endParaRPr lang="en-US"/>
          </a:p>
        </p:txBody>
      </p:sp>
    </p:spTree>
    <p:extLst>
      <p:ext uri="{BB962C8B-B14F-4D97-AF65-F5344CB8AC3E}">
        <p14:creationId xmlns:p14="http://schemas.microsoft.com/office/powerpoint/2010/main" val="2694864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STATEMENT OF GOALS</a:t>
            </a:r>
          </a:p>
          <a:p>
            <a:pPr lvl="0"/>
            <a:r>
              <a:rPr lang="en-US" sz="1200" kern="1200" dirty="0">
                <a:solidFill>
                  <a:schemeClr val="tx1"/>
                </a:solidFill>
                <a:effectLst/>
                <a:latin typeface="+mn-lt"/>
                <a:ea typeface="+mn-ea"/>
                <a:cs typeface="+mn-cs"/>
              </a:rPr>
              <a:t>WELL-DEFINED DATA SCIENCE PROCESS FRAMEWORK AND THE REASONS YOU ARE PROPOSING</a:t>
            </a:r>
          </a:p>
          <a:p>
            <a:endParaRPr lang="en-US" dirty="0"/>
          </a:p>
        </p:txBody>
      </p:sp>
      <p:sp>
        <p:nvSpPr>
          <p:cNvPr id="4" name="Slide Number Placeholder 3"/>
          <p:cNvSpPr>
            <a:spLocks noGrp="1"/>
          </p:cNvSpPr>
          <p:nvPr>
            <p:ph type="sldNum" sz="quarter" idx="5"/>
          </p:nvPr>
        </p:nvSpPr>
        <p:spPr/>
        <p:txBody>
          <a:bodyPr/>
          <a:lstStyle/>
          <a:p>
            <a:fld id="{6DBBBC3D-BEA4-478A-B63F-ADBD0AF3C6A0}" type="slidenum">
              <a:rPr lang="en-US" smtClean="0"/>
              <a:t>2</a:t>
            </a:fld>
            <a:endParaRPr lang="en-US"/>
          </a:p>
        </p:txBody>
      </p:sp>
    </p:spTree>
    <p:extLst>
      <p:ext uri="{BB962C8B-B14F-4D97-AF65-F5344CB8AC3E}">
        <p14:creationId xmlns:p14="http://schemas.microsoft.com/office/powerpoint/2010/main" val="3363834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DESCRIPTION AND LOCATIONS OF RELATED DATA SOURCES</a:t>
            </a:r>
          </a:p>
          <a:p>
            <a:pPr lvl="0"/>
            <a:r>
              <a:rPr lang="en-US" sz="1200" kern="1200" dirty="0">
                <a:solidFill>
                  <a:schemeClr val="tx1"/>
                </a:solidFill>
                <a:effectLst/>
                <a:latin typeface="+mn-lt"/>
                <a:ea typeface="+mn-ea"/>
                <a:cs typeface="+mn-cs"/>
              </a:rPr>
              <a:t>EXPLANATION OF HOW YOU WILL MANAGE THE DATA FOR THE PROJ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KNOWN ISSUES WITH THE DATA AND HOW YOU PLAN TO ADDRESS THEM</a:t>
            </a:r>
          </a:p>
        </p:txBody>
      </p:sp>
      <p:sp>
        <p:nvSpPr>
          <p:cNvPr id="4" name="Slide Number Placeholder 3"/>
          <p:cNvSpPr>
            <a:spLocks noGrp="1"/>
          </p:cNvSpPr>
          <p:nvPr>
            <p:ph type="sldNum" sz="quarter" idx="5"/>
          </p:nvPr>
        </p:nvSpPr>
        <p:spPr/>
        <p:txBody>
          <a:bodyPr/>
          <a:lstStyle/>
          <a:p>
            <a:fld id="{6DBBBC3D-BEA4-478A-B63F-ADBD0AF3C6A0}" type="slidenum">
              <a:rPr lang="en-US" smtClean="0"/>
              <a:t>3</a:t>
            </a:fld>
            <a:endParaRPr lang="en-US"/>
          </a:p>
        </p:txBody>
      </p:sp>
    </p:spTree>
    <p:extLst>
      <p:ext uri="{BB962C8B-B14F-4D97-AF65-F5344CB8AC3E}">
        <p14:creationId xmlns:p14="http://schemas.microsoft.com/office/powerpoint/2010/main" val="3106066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DESCRIPTION AND LOCATIONS OF RELATED DATA SOURCES</a:t>
            </a:r>
          </a:p>
          <a:p>
            <a:pPr lvl="0"/>
            <a:r>
              <a:rPr lang="en-US" sz="1200" kern="1200" dirty="0">
                <a:solidFill>
                  <a:schemeClr val="tx1"/>
                </a:solidFill>
                <a:effectLst/>
                <a:latin typeface="+mn-lt"/>
                <a:ea typeface="+mn-ea"/>
                <a:cs typeface="+mn-cs"/>
              </a:rPr>
              <a:t>EXPLANATION OF HOW YOU WILL MANAGE THE DATA FOR THE PROJE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KNOWN ISSUES WITH THE DATA AND HOW YOU PLAN TO ADDRESS THEM</a:t>
            </a:r>
          </a:p>
        </p:txBody>
      </p:sp>
      <p:sp>
        <p:nvSpPr>
          <p:cNvPr id="4" name="Slide Number Placeholder 3"/>
          <p:cNvSpPr>
            <a:spLocks noGrp="1"/>
          </p:cNvSpPr>
          <p:nvPr>
            <p:ph type="sldNum" sz="quarter" idx="5"/>
          </p:nvPr>
        </p:nvSpPr>
        <p:spPr/>
        <p:txBody>
          <a:bodyPr/>
          <a:lstStyle/>
          <a:p>
            <a:fld id="{6DBBBC3D-BEA4-478A-B63F-ADBD0AF3C6A0}" type="slidenum">
              <a:rPr lang="en-US" smtClean="0"/>
              <a:t>4</a:t>
            </a:fld>
            <a:endParaRPr lang="en-US"/>
          </a:p>
        </p:txBody>
      </p:sp>
    </p:spTree>
    <p:extLst>
      <p:ext uri="{BB962C8B-B14F-4D97-AF65-F5344CB8AC3E}">
        <p14:creationId xmlns:p14="http://schemas.microsoft.com/office/powerpoint/2010/main" val="34997040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50696-3A20-4E7B-9192-B15C46E6EB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363EF7-2993-4B4C-9400-1B2E21FF67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5B4DEC-A482-4D8B-8BF0-4673A9F0A761}"/>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5" name="Footer Placeholder 4">
            <a:extLst>
              <a:ext uri="{FF2B5EF4-FFF2-40B4-BE49-F238E27FC236}">
                <a16:creationId xmlns:a16="http://schemas.microsoft.com/office/drawing/2014/main" id="{AAAF14C2-217D-41B8-9D75-EF9FE54FD3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292BD8-4A98-4843-BFF1-87A73413BD61}"/>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2002015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64A3F-D4C7-4A73-BF39-187B724BE8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AB571E-9699-4994-ABE3-9CD7FBA4E4E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368340-AF6B-4F07-AAF2-60C9A10C3ECF}"/>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5" name="Footer Placeholder 4">
            <a:extLst>
              <a:ext uri="{FF2B5EF4-FFF2-40B4-BE49-F238E27FC236}">
                <a16:creationId xmlns:a16="http://schemas.microsoft.com/office/drawing/2014/main" id="{269F8C94-52EE-440C-8A73-98F566ADE4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54F57B-F39B-4AF7-9860-B857DF99445E}"/>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35414592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4CA17-563D-4F93-BA22-C0057DEBB6C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71F1A93-C3E7-455F-8DEE-D8DE872D3A1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1725547-D0CA-40D8-9193-B095C3414E94}"/>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5" name="Footer Placeholder 4">
            <a:extLst>
              <a:ext uri="{FF2B5EF4-FFF2-40B4-BE49-F238E27FC236}">
                <a16:creationId xmlns:a16="http://schemas.microsoft.com/office/drawing/2014/main" id="{22AE40A5-E3B4-4F20-A574-8F5C9C4A7D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A69CAF-831A-431D-8302-9887B3F0C934}"/>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27330835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F1390-0132-4BBB-8446-E072D82E94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75BBCE-9949-4ADC-A768-20663CDD843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924355A-6F62-40C9-8D16-F7A1C2EE424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B5B844-203B-4018-91BD-6C7FD283BBBD}"/>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6" name="Footer Placeholder 5">
            <a:extLst>
              <a:ext uri="{FF2B5EF4-FFF2-40B4-BE49-F238E27FC236}">
                <a16:creationId xmlns:a16="http://schemas.microsoft.com/office/drawing/2014/main" id="{4DBD6A48-00EF-40DD-BDF5-89EA73CF4C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35514C-F5D6-43FB-8048-13620EEA07C6}"/>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34380216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B2E48-AE9F-416A-9514-E8D1878264F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9E78B3E-D2C7-4743-8311-141AF2B3D8F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BCBFD6C-018E-4B14-B1DC-D2454FB7C12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B812CC0-680B-47EE-9A8A-F8D42B60510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00876CD-80C0-4E0C-AA6A-763D9E34125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EDDEDA8-F986-46BE-8C86-E24E6EF123C8}"/>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8" name="Footer Placeholder 7">
            <a:extLst>
              <a:ext uri="{FF2B5EF4-FFF2-40B4-BE49-F238E27FC236}">
                <a16:creationId xmlns:a16="http://schemas.microsoft.com/office/drawing/2014/main" id="{8E6B0390-6C37-40AA-9627-CFA91FFC0DF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9F3B7BD-BC1F-4782-851B-C622313BC039}"/>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37165547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80CB7-5864-4312-ABC6-403C8130129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E2A833-8DEE-4AE2-AE58-0ACC58FA79FF}"/>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4" name="Footer Placeholder 3">
            <a:extLst>
              <a:ext uri="{FF2B5EF4-FFF2-40B4-BE49-F238E27FC236}">
                <a16:creationId xmlns:a16="http://schemas.microsoft.com/office/drawing/2014/main" id="{C69B3620-4FAF-4A44-B376-8B03BC6739D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D32BA90-0D75-4807-8482-7CCEAD0CEA34}"/>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683084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482BB5-4C00-4444-9263-52C8492C54C0}"/>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3" name="Footer Placeholder 2">
            <a:extLst>
              <a:ext uri="{FF2B5EF4-FFF2-40B4-BE49-F238E27FC236}">
                <a16:creationId xmlns:a16="http://schemas.microsoft.com/office/drawing/2014/main" id="{3609F290-2D16-44B0-9273-D5F5FC05D7A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8B1EE9-A16F-4E5D-B79A-4578B534A85D}"/>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21723887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48A4F-75D0-4896-84EA-B6C912873A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C6AB8FA-84B9-4A9D-BACE-17621C484D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A279FB5-6AFD-4D23-BF9A-2873999779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1C6C147-70A5-4A62-9E88-AF97E6474D18}"/>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6" name="Footer Placeholder 5">
            <a:extLst>
              <a:ext uri="{FF2B5EF4-FFF2-40B4-BE49-F238E27FC236}">
                <a16:creationId xmlns:a16="http://schemas.microsoft.com/office/drawing/2014/main" id="{EBA2472E-FA7B-4DDD-8BE8-EFE8388778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9662A3-7CE2-4F05-8E3D-8EE93C69CE35}"/>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884456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45FA8-599F-42A6-9F78-099280935A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63E597-5590-419C-B186-AD0FFA5520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629E7CB-15A3-4C5E-B22D-4EBD57F828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8C9CBBD-2A9E-427F-AB4B-B147D5D244FE}"/>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6" name="Footer Placeholder 5">
            <a:extLst>
              <a:ext uri="{FF2B5EF4-FFF2-40B4-BE49-F238E27FC236}">
                <a16:creationId xmlns:a16="http://schemas.microsoft.com/office/drawing/2014/main" id="{41C13EB2-DEE0-4430-981D-7CBBE06210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71A8D9-C9D9-4D8C-BC15-ACFDBD199917}"/>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396234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90C5A-8528-406D-8B75-54F2664106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8A23F44-F286-4A68-8388-1BD2723DF3E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F87D08-0F85-4BFB-A8BC-696D70D665FC}"/>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5" name="Footer Placeholder 4">
            <a:extLst>
              <a:ext uri="{FF2B5EF4-FFF2-40B4-BE49-F238E27FC236}">
                <a16:creationId xmlns:a16="http://schemas.microsoft.com/office/drawing/2014/main" id="{86DE3265-E828-4EF6-B97E-0B37F3CBFA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96CEC-F131-4F29-96DF-FA1BB03505E1}"/>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3576117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4BE40-ADA1-41E3-B2D2-69E4B47F723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F58021A-E3B9-402E-8393-1DD58246AEA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B03B21-A2E7-46FA-86FB-9134DB89CA6D}"/>
              </a:ext>
            </a:extLst>
          </p:cNvPr>
          <p:cNvSpPr>
            <a:spLocks noGrp="1"/>
          </p:cNvSpPr>
          <p:nvPr>
            <p:ph type="dt" sz="half" idx="10"/>
          </p:nvPr>
        </p:nvSpPr>
        <p:spPr/>
        <p:txBody>
          <a:bodyPr/>
          <a:lstStyle/>
          <a:p>
            <a:fld id="{9650E067-F88E-4248-9764-D982E1532DAE}" type="datetimeFigureOut">
              <a:rPr lang="en-US" smtClean="0"/>
              <a:t>9/8/2021</a:t>
            </a:fld>
            <a:endParaRPr lang="en-US"/>
          </a:p>
        </p:txBody>
      </p:sp>
      <p:sp>
        <p:nvSpPr>
          <p:cNvPr id="5" name="Footer Placeholder 4">
            <a:extLst>
              <a:ext uri="{FF2B5EF4-FFF2-40B4-BE49-F238E27FC236}">
                <a16:creationId xmlns:a16="http://schemas.microsoft.com/office/drawing/2014/main" id="{58E0AD99-1DE1-4ACA-89EE-45A91F2E55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E0BDA3-1974-44C7-9268-AF673284ACFB}"/>
              </a:ext>
            </a:extLst>
          </p:cNvPr>
          <p:cNvSpPr>
            <a:spLocks noGrp="1"/>
          </p:cNvSpPr>
          <p:nvPr>
            <p:ph type="sldNum" sz="quarter" idx="12"/>
          </p:nvPr>
        </p:nvSpPr>
        <p:spPr/>
        <p:txBody>
          <a:bodyPr/>
          <a:lstStyle/>
          <a:p>
            <a:fld id="{F94759FA-45B0-4744-A2F4-8F8DFB7F37BA}" type="slidenum">
              <a:rPr lang="en-US" smtClean="0"/>
              <a:t>‹#›</a:t>
            </a:fld>
            <a:endParaRPr lang="en-US"/>
          </a:p>
        </p:txBody>
      </p:sp>
    </p:spTree>
    <p:extLst>
      <p:ext uri="{BB962C8B-B14F-4D97-AF65-F5344CB8AC3E}">
        <p14:creationId xmlns:p14="http://schemas.microsoft.com/office/powerpoint/2010/main" val="40793923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9/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9/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9/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068E0FA-AC27-4654-8B27-9DE7E2C80399}"/>
              </a:ext>
            </a:extLst>
          </p:cNvPr>
          <p:cNvGraphicFramePr>
            <a:graphicFrameLocks noChangeAspect="1"/>
          </p:cNvGraphicFramePr>
          <p:nvPr userDrawn="1">
            <p:custDataLst>
              <p:tags r:id="rId19"/>
            </p:custDataLst>
            <p:extLst>
              <p:ext uri="{D42A27DB-BD31-4B8C-83A1-F6EECF244321}">
                <p14:modId xmlns:p14="http://schemas.microsoft.com/office/powerpoint/2010/main" val="490001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20" imgW="347" imgH="348" progId="TCLayout.ActiveDocument.1">
                  <p:embed/>
                </p:oleObj>
              </mc:Choice>
              <mc:Fallback>
                <p:oleObj name="think-cell Slide" r:id="rId20" imgW="347" imgH="348"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9/8/2021</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4E055E-2A4F-48A4-B0FD-819F74AE5E3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D72216-29D2-4595-85C5-027EEEAA7F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9B2909-1433-48C2-B5CC-7761B2849ED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50E067-F88E-4248-9764-D982E1532DAE}" type="datetimeFigureOut">
              <a:rPr lang="en-US" smtClean="0"/>
              <a:t>9/8/2021</a:t>
            </a:fld>
            <a:endParaRPr lang="en-US"/>
          </a:p>
        </p:txBody>
      </p:sp>
      <p:sp>
        <p:nvSpPr>
          <p:cNvPr id="5" name="Footer Placeholder 4">
            <a:extLst>
              <a:ext uri="{FF2B5EF4-FFF2-40B4-BE49-F238E27FC236}">
                <a16:creationId xmlns:a16="http://schemas.microsoft.com/office/drawing/2014/main" id="{DF99C742-FB9B-44F7-8445-454F474B0E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A6EAAA0-FE97-45DF-A1C8-822EF11242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4759FA-45B0-4744-A2F4-8F8DFB7F37BA}" type="slidenum">
              <a:rPr lang="en-US" smtClean="0"/>
              <a:t>‹#›</a:t>
            </a:fld>
            <a:endParaRPr lang="en-US"/>
          </a:p>
        </p:txBody>
      </p:sp>
    </p:spTree>
    <p:extLst>
      <p:ext uri="{BB962C8B-B14F-4D97-AF65-F5344CB8AC3E}">
        <p14:creationId xmlns:p14="http://schemas.microsoft.com/office/powerpoint/2010/main" val="1385300276"/>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5.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E4C247-089D-452C-A3D5-B87921922E62}"/>
              </a:ext>
            </a:extLst>
          </p:cNvPr>
          <p:cNvGraphicFramePr>
            <a:graphicFrameLocks noChangeAspect="1"/>
          </p:cNvGraphicFramePr>
          <p:nvPr>
            <p:custDataLst>
              <p:tags r:id="rId2"/>
            </p:custDataLst>
            <p:extLst>
              <p:ext uri="{D42A27DB-BD31-4B8C-83A1-F6EECF244321}">
                <p14:modId xmlns:p14="http://schemas.microsoft.com/office/powerpoint/2010/main" val="209544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D35535-E03F-FD4E-ACDC-C42635380FAC}"/>
              </a:ext>
            </a:extLst>
          </p:cNvPr>
          <p:cNvSpPr>
            <a:spLocks noGrp="1"/>
          </p:cNvSpPr>
          <p:nvPr>
            <p:ph type="ctrTitle"/>
          </p:nvPr>
        </p:nvSpPr>
        <p:spPr/>
        <p:txBody>
          <a:bodyPr vert="horz"/>
          <a:lstStyle/>
          <a:p>
            <a:r>
              <a:rPr lang="en-US" dirty="0"/>
              <a:t>Credit One</a:t>
            </a:r>
          </a:p>
        </p:txBody>
      </p:sp>
      <p:sp>
        <p:nvSpPr>
          <p:cNvPr id="3" name="Subtitle 2">
            <a:extLst>
              <a:ext uri="{FF2B5EF4-FFF2-40B4-BE49-F238E27FC236}">
                <a16:creationId xmlns:a16="http://schemas.microsoft.com/office/drawing/2014/main" id="{41D736EE-3F0D-F34A-BE63-D54DE9E3471A}"/>
              </a:ext>
            </a:extLst>
          </p:cNvPr>
          <p:cNvSpPr>
            <a:spLocks noGrp="1"/>
          </p:cNvSpPr>
          <p:nvPr>
            <p:ph type="subTitle" idx="1"/>
          </p:nvPr>
        </p:nvSpPr>
        <p:spPr/>
        <p:txBody>
          <a:bodyPr/>
          <a:lstStyle/>
          <a:p>
            <a:r>
              <a:rPr lang="en-US" dirty="0"/>
              <a:t>Customers Reliability for Credit Issuance</a:t>
            </a:r>
          </a:p>
          <a:p>
            <a:r>
              <a:rPr lang="en-US" dirty="0"/>
              <a:t>By Francisco Sanchez</a:t>
            </a:r>
          </a:p>
        </p:txBody>
      </p:sp>
    </p:spTree>
    <p:extLst>
      <p:ext uri="{BB962C8B-B14F-4D97-AF65-F5344CB8AC3E}">
        <p14:creationId xmlns:p14="http://schemas.microsoft.com/office/powerpoint/2010/main" val="178769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3C099B-8E90-404A-B32F-6C14B8DBEE5E}"/>
              </a:ext>
            </a:extLst>
          </p:cNvPr>
          <p:cNvGraphicFramePr>
            <a:graphicFrameLocks noChangeAspect="1"/>
          </p:cNvGraphicFramePr>
          <p:nvPr>
            <p:custDataLst>
              <p:tags r:id="rId2"/>
            </p:custDataLst>
            <p:extLst>
              <p:ext uri="{D42A27DB-BD31-4B8C-83A1-F6EECF244321}">
                <p14:modId xmlns:p14="http://schemas.microsoft.com/office/powerpoint/2010/main" val="2664795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12B48F-6139-9D41-BF4C-43FB5C9D8DFB}"/>
              </a:ext>
            </a:extLst>
          </p:cNvPr>
          <p:cNvSpPr>
            <a:spLocks noGrp="1"/>
          </p:cNvSpPr>
          <p:nvPr>
            <p:ph type="title"/>
          </p:nvPr>
        </p:nvSpPr>
        <p:spPr>
          <a:xfrm>
            <a:off x="677334" y="609600"/>
            <a:ext cx="8596668" cy="879012"/>
          </a:xfrm>
        </p:spPr>
        <p:txBody>
          <a:bodyPr vert="horz"/>
          <a:lstStyle/>
          <a:p>
            <a:r>
              <a:rPr lang="en-US" dirty="0"/>
              <a:t>The Project</a:t>
            </a:r>
          </a:p>
        </p:txBody>
      </p:sp>
      <p:sp>
        <p:nvSpPr>
          <p:cNvPr id="3" name="Content Placeholder 2">
            <a:extLst>
              <a:ext uri="{FF2B5EF4-FFF2-40B4-BE49-F238E27FC236}">
                <a16:creationId xmlns:a16="http://schemas.microsoft.com/office/drawing/2014/main" id="{86D6A90A-A214-334D-8572-AF865217769D}"/>
              </a:ext>
            </a:extLst>
          </p:cNvPr>
          <p:cNvSpPr>
            <a:spLocks noGrp="1"/>
          </p:cNvSpPr>
          <p:nvPr>
            <p:ph idx="1"/>
          </p:nvPr>
        </p:nvSpPr>
        <p:spPr>
          <a:xfrm>
            <a:off x="677334" y="1488612"/>
            <a:ext cx="8596668" cy="5369387"/>
          </a:xfrm>
        </p:spPr>
        <p:txBody>
          <a:bodyPr>
            <a:noAutofit/>
          </a:bodyPr>
          <a:lstStyle/>
          <a:p>
            <a:pPr>
              <a:lnSpc>
                <a:spcPct val="220000"/>
              </a:lnSpc>
              <a:spcBef>
                <a:spcPts val="0"/>
              </a:spcBef>
            </a:pPr>
            <a:r>
              <a:rPr lang="en-US" sz="1600" dirty="0"/>
              <a:t>This analysis is directed towards better understanding and knowing client’s credit eligibility and amount based on different given variables.</a:t>
            </a:r>
          </a:p>
          <a:p>
            <a:pPr marL="0" indent="0">
              <a:lnSpc>
                <a:spcPct val="220000"/>
              </a:lnSpc>
              <a:spcBef>
                <a:spcPts val="0"/>
              </a:spcBef>
              <a:buNone/>
            </a:pPr>
            <a:endParaRPr lang="en-US" sz="1600" dirty="0"/>
          </a:p>
          <a:p>
            <a:pPr>
              <a:lnSpc>
                <a:spcPct val="220000"/>
              </a:lnSpc>
              <a:spcBef>
                <a:spcPts val="0"/>
              </a:spcBef>
            </a:pPr>
            <a:r>
              <a:rPr lang="en-US" sz="1600" dirty="0"/>
              <a:t>During the analysis, I will be exploring and cleaning up data for an easier processing using data mining methodology, look for patterns, get initial insight on how the data can be analyzed, investigate relationship between all independent and dependent variables, split the data, create predictive models for cross validation and draw conclusions.</a:t>
            </a:r>
          </a:p>
        </p:txBody>
      </p:sp>
    </p:spTree>
    <p:extLst>
      <p:ext uri="{BB962C8B-B14F-4D97-AF65-F5344CB8AC3E}">
        <p14:creationId xmlns:p14="http://schemas.microsoft.com/office/powerpoint/2010/main" val="2513082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3C099B-8E90-404A-B32F-6C14B8DBEE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1A3C099B-8E90-404A-B32F-6C14B8DBEE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12B48F-6139-9D41-BF4C-43FB5C9D8DFB}"/>
              </a:ext>
            </a:extLst>
          </p:cNvPr>
          <p:cNvSpPr>
            <a:spLocks noGrp="1"/>
          </p:cNvSpPr>
          <p:nvPr>
            <p:ph type="title"/>
          </p:nvPr>
        </p:nvSpPr>
        <p:spPr>
          <a:xfrm>
            <a:off x="677334" y="609600"/>
            <a:ext cx="8596668" cy="879012"/>
          </a:xfrm>
        </p:spPr>
        <p:txBody>
          <a:bodyPr vert="horz"/>
          <a:lstStyle/>
          <a:p>
            <a:r>
              <a:rPr lang="en-US" dirty="0"/>
              <a:t>The Project</a:t>
            </a:r>
          </a:p>
        </p:txBody>
      </p:sp>
      <p:sp>
        <p:nvSpPr>
          <p:cNvPr id="3" name="Content Placeholder 2">
            <a:extLst>
              <a:ext uri="{FF2B5EF4-FFF2-40B4-BE49-F238E27FC236}">
                <a16:creationId xmlns:a16="http://schemas.microsoft.com/office/drawing/2014/main" id="{86D6A90A-A214-334D-8572-AF865217769D}"/>
              </a:ext>
            </a:extLst>
          </p:cNvPr>
          <p:cNvSpPr>
            <a:spLocks noGrp="1"/>
          </p:cNvSpPr>
          <p:nvPr>
            <p:ph idx="1"/>
          </p:nvPr>
        </p:nvSpPr>
        <p:spPr>
          <a:xfrm>
            <a:off x="677334" y="1488612"/>
            <a:ext cx="8596668" cy="5369387"/>
          </a:xfrm>
        </p:spPr>
        <p:txBody>
          <a:bodyPr>
            <a:noAutofit/>
          </a:bodyPr>
          <a:lstStyle/>
          <a:p>
            <a:pPr>
              <a:lnSpc>
                <a:spcPct val="220000"/>
              </a:lnSpc>
              <a:spcBef>
                <a:spcPts val="0"/>
              </a:spcBef>
            </a:pPr>
            <a:r>
              <a:rPr lang="en-US" sz="1600" dirty="0"/>
              <a:t>Back-up documentation lives here *paste link* where the following can be found:</a:t>
            </a:r>
          </a:p>
          <a:p>
            <a:pPr lvl="1">
              <a:lnSpc>
                <a:spcPct val="220000"/>
              </a:lnSpc>
              <a:spcBef>
                <a:spcPts val="0"/>
              </a:spcBef>
              <a:buFont typeface="Wingdings" panose="05000000000000000000" pitchFamily="2" charset="2"/>
              <a:buChar char="Ø"/>
            </a:pPr>
            <a:r>
              <a:rPr lang="en-US" sz="1400" dirty="0"/>
              <a:t>CSV file with back up raw data</a:t>
            </a:r>
          </a:p>
          <a:p>
            <a:pPr lvl="1">
              <a:lnSpc>
                <a:spcPct val="220000"/>
              </a:lnSpc>
              <a:spcBef>
                <a:spcPts val="0"/>
              </a:spcBef>
              <a:buFont typeface="Wingdings" panose="05000000000000000000" pitchFamily="2" charset="2"/>
              <a:buChar char="Ø"/>
            </a:pPr>
            <a:r>
              <a:rPr lang="en-US" sz="1400" dirty="0" err="1"/>
              <a:t>Jupyter</a:t>
            </a:r>
            <a:r>
              <a:rPr lang="en-US" sz="1400" dirty="0"/>
              <a:t> Notebook with code</a:t>
            </a:r>
          </a:p>
          <a:p>
            <a:pPr lvl="1">
              <a:lnSpc>
                <a:spcPct val="220000"/>
              </a:lnSpc>
              <a:spcBef>
                <a:spcPts val="0"/>
              </a:spcBef>
              <a:buFont typeface="Wingdings" panose="05000000000000000000" pitchFamily="2" charset="2"/>
              <a:buChar char="Ø"/>
            </a:pPr>
            <a:r>
              <a:rPr lang="en-US" sz="1400" dirty="0"/>
              <a:t>Word document with conclusions</a:t>
            </a:r>
            <a:endParaRPr lang="en-US" sz="1600" dirty="0"/>
          </a:p>
          <a:p>
            <a:pPr>
              <a:lnSpc>
                <a:spcPct val="220000"/>
              </a:lnSpc>
              <a:spcBef>
                <a:spcPts val="0"/>
              </a:spcBef>
            </a:pPr>
            <a:r>
              <a:rPr lang="en-US" sz="1600" dirty="0"/>
              <a:t>Dataset will be managed on Python with packages such as </a:t>
            </a:r>
            <a:r>
              <a:rPr lang="en-US" sz="1600" dirty="0" err="1"/>
              <a:t>Numpy</a:t>
            </a:r>
            <a:r>
              <a:rPr lang="en-US" sz="1600" dirty="0"/>
              <a:t>, Pandas, </a:t>
            </a:r>
            <a:r>
              <a:rPr lang="en-US" sz="1600" dirty="0" err="1"/>
              <a:t>Matplot</a:t>
            </a:r>
            <a:r>
              <a:rPr lang="en-US" sz="1600" dirty="0"/>
              <a:t>, Seaborn and </a:t>
            </a:r>
            <a:r>
              <a:rPr lang="en-US" sz="1600" dirty="0" err="1"/>
              <a:t>Sklearn</a:t>
            </a:r>
            <a:endParaRPr lang="en-US" sz="1600" dirty="0"/>
          </a:p>
          <a:p>
            <a:pPr>
              <a:lnSpc>
                <a:spcPct val="220000"/>
              </a:lnSpc>
              <a:spcBef>
                <a:spcPts val="0"/>
              </a:spcBef>
            </a:pPr>
            <a:r>
              <a:rPr lang="en-US" sz="1600" dirty="0"/>
              <a:t>So far, a couple issues I was able to glare are that data needs to be cleaned up quite a bit, original framing is not suit for analysis. It also requires converting some variables to integers for a better data processing.</a:t>
            </a:r>
          </a:p>
        </p:txBody>
      </p:sp>
    </p:spTree>
    <p:extLst>
      <p:ext uri="{BB962C8B-B14F-4D97-AF65-F5344CB8AC3E}">
        <p14:creationId xmlns:p14="http://schemas.microsoft.com/office/powerpoint/2010/main" val="3227968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3C099B-8E90-404A-B32F-6C14B8DBEE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1A3C099B-8E90-404A-B32F-6C14B8DBEE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12B48F-6139-9D41-BF4C-43FB5C9D8DFB}"/>
              </a:ext>
            </a:extLst>
          </p:cNvPr>
          <p:cNvSpPr>
            <a:spLocks noGrp="1"/>
          </p:cNvSpPr>
          <p:nvPr>
            <p:ph type="title"/>
          </p:nvPr>
        </p:nvSpPr>
        <p:spPr>
          <a:xfrm>
            <a:off x="677334" y="609600"/>
            <a:ext cx="8596668" cy="879012"/>
          </a:xfrm>
        </p:spPr>
        <p:txBody>
          <a:bodyPr vert="horz"/>
          <a:lstStyle/>
          <a:p>
            <a:r>
              <a:rPr lang="en-US" dirty="0"/>
              <a:t>The Project</a:t>
            </a:r>
          </a:p>
        </p:txBody>
      </p:sp>
      <p:graphicFrame>
        <p:nvGraphicFramePr>
          <p:cNvPr id="4" name="Content Placeholder 3">
            <a:extLst>
              <a:ext uri="{FF2B5EF4-FFF2-40B4-BE49-F238E27FC236}">
                <a16:creationId xmlns:a16="http://schemas.microsoft.com/office/drawing/2014/main" id="{F11C9AE9-0090-4DA8-A7B2-81E91C2C5EF7}"/>
              </a:ext>
            </a:extLst>
          </p:cNvPr>
          <p:cNvGraphicFramePr>
            <a:graphicFrameLocks noGrp="1"/>
          </p:cNvGraphicFramePr>
          <p:nvPr>
            <p:ph idx="1"/>
            <p:extLst>
              <p:ext uri="{D42A27DB-BD31-4B8C-83A1-F6EECF244321}">
                <p14:modId xmlns:p14="http://schemas.microsoft.com/office/powerpoint/2010/main" val="3671495348"/>
              </p:ext>
            </p:extLst>
          </p:nvPr>
        </p:nvGraphicFramePr>
        <p:xfrm>
          <a:off x="207071" y="1341121"/>
          <a:ext cx="9415900" cy="214884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Content Placeholder 2">
            <a:extLst>
              <a:ext uri="{FF2B5EF4-FFF2-40B4-BE49-F238E27FC236}">
                <a16:creationId xmlns:a16="http://schemas.microsoft.com/office/drawing/2014/main" id="{6CD6243F-C0E0-4176-8A61-1930522ABB9B}"/>
              </a:ext>
            </a:extLst>
          </p:cNvPr>
          <p:cNvSpPr txBox="1">
            <a:spLocks/>
          </p:cNvSpPr>
          <p:nvPr/>
        </p:nvSpPr>
        <p:spPr>
          <a:xfrm>
            <a:off x="677334" y="3317967"/>
            <a:ext cx="8596668" cy="2534194"/>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a:lnSpc>
                <a:spcPct val="220000"/>
              </a:lnSpc>
              <a:spcBef>
                <a:spcPts val="0"/>
              </a:spcBef>
            </a:pPr>
            <a:r>
              <a:rPr lang="en-US" sz="1600" dirty="0" err="1"/>
              <a:t>Dataframe</a:t>
            </a:r>
            <a:r>
              <a:rPr lang="en-US" sz="1600" dirty="0"/>
              <a:t> is constant from April – September 2005</a:t>
            </a:r>
          </a:p>
          <a:p>
            <a:pPr>
              <a:lnSpc>
                <a:spcPct val="220000"/>
              </a:lnSpc>
              <a:spcBef>
                <a:spcPts val="0"/>
              </a:spcBef>
            </a:pPr>
            <a:r>
              <a:rPr lang="en-US" sz="1600" dirty="0"/>
              <a:t>Given Credit can be grouped to smaller buckets</a:t>
            </a:r>
          </a:p>
          <a:p>
            <a:pPr>
              <a:lnSpc>
                <a:spcPct val="220000"/>
              </a:lnSpc>
              <a:spcBef>
                <a:spcPts val="0"/>
              </a:spcBef>
            </a:pPr>
            <a:r>
              <a:rPr lang="en-US" sz="1600" dirty="0"/>
              <a:t>Payment Delay can be grouped down to 3 or 4 different delay buckets.</a:t>
            </a:r>
          </a:p>
          <a:p>
            <a:pPr>
              <a:lnSpc>
                <a:spcPct val="220000"/>
              </a:lnSpc>
              <a:spcBef>
                <a:spcPts val="0"/>
              </a:spcBef>
            </a:pPr>
            <a:r>
              <a:rPr lang="en-US" sz="1600" dirty="0"/>
              <a:t>Bill Amounts can be grouped down as well. </a:t>
            </a:r>
          </a:p>
        </p:txBody>
      </p:sp>
    </p:spTree>
    <p:extLst>
      <p:ext uri="{BB962C8B-B14F-4D97-AF65-F5344CB8AC3E}">
        <p14:creationId xmlns:p14="http://schemas.microsoft.com/office/powerpoint/2010/main" val="23671404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273</TotalTime>
  <Words>317</Words>
  <Application>Microsoft Office PowerPoint</Application>
  <PresentationFormat>Widescreen</PresentationFormat>
  <Paragraphs>37</Paragraphs>
  <Slides>4</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Calibri Light</vt:lpstr>
      <vt:lpstr>Trebuchet MS</vt:lpstr>
      <vt:lpstr>Wingdings</vt:lpstr>
      <vt:lpstr>Wingdings 3</vt:lpstr>
      <vt:lpstr>Facet</vt:lpstr>
      <vt:lpstr>Custom Design</vt:lpstr>
      <vt:lpstr>think-cell Slide</vt:lpstr>
      <vt:lpstr>Credit One</vt:lpstr>
      <vt:lpstr>The Project</vt:lpstr>
      <vt:lpstr>The Project</vt:lpstr>
      <vt:lpstr>The Proje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ackwell's eCommerce</dc:title>
  <dc:creator>Francisco Sánchez</dc:creator>
  <cp:lastModifiedBy>Sanchez, Francisco</cp:lastModifiedBy>
  <cp:revision>16</cp:revision>
  <dcterms:created xsi:type="dcterms:W3CDTF">2021-07-27T02:14:54Z</dcterms:created>
  <dcterms:modified xsi:type="dcterms:W3CDTF">2021-09-08T19:54:46Z</dcterms:modified>
</cp:coreProperties>
</file>